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62" r:id="rId5"/>
    <p:sldId id="263" r:id="rId6"/>
    <p:sldId id="264" r:id="rId7"/>
    <p:sldId id="258" r:id="rId8"/>
    <p:sldId id="260" r:id="rId9"/>
    <p:sldId id="256" r:id="rId10"/>
    <p:sldId id="257" r:id="rId11"/>
    <p:sldId id="265" r:id="rId12"/>
    <p:sldId id="259" r:id="rId13"/>
    <p:sldId id="266" r:id="rId1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15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5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5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4992</TotalTime>
  <Words>506</Words>
  <Application>Microsoft Office PowerPoint</Application>
  <PresentationFormat>Custom</PresentationFormat>
  <Paragraphs>18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Kasper Svendsen</cp:lastModifiedBy>
  <cp:revision>45</cp:revision>
  <dcterms:created xsi:type="dcterms:W3CDTF">2019-10-15T10:47:01Z</dcterms:created>
  <dcterms:modified xsi:type="dcterms:W3CDTF">2019-11-06T19:04:21Z</dcterms:modified>
</cp:coreProperties>
</file>